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8" r:id="rId6"/>
    <p:sldMasterId id="2147483745" r:id="rId7"/>
    <p:sldMasterId id="2147483648" r:id="rId8"/>
  </p:sldMasterIdLst>
  <p:notesMasterIdLst>
    <p:notesMasterId r:id="rId11"/>
  </p:notesMasterIdLst>
  <p:sldIdLst>
    <p:sldId id="2147481353" r:id="rId9"/>
    <p:sldId id="2147481355" r:id="rId10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6" d="100"/>
          <a:sy n="96" d="100"/>
        </p:scale>
        <p:origin x="115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24.xml"/><Relationship Id="rId41" Type="http://schemas.openxmlformats.org/officeDocument/2006/relationships/slideLayout" Target="../slideLayouts/slideLayout45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bee-together.jp/course/view.php?id=125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AF435FA3-A778-0432-1962-37557DC66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E3D1273-210D-5029-D663-0F8E9CDC3EE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5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ja-JP" altLang="en-US" sz="8800" b="1" dirty="0"/>
              <a:t>教員向け指導案</a:t>
            </a:r>
            <a:br>
              <a:rPr lang="en-US" altLang="ja-JP" sz="8800" b="1" dirty="0"/>
            </a:br>
            <a:r>
              <a:rPr lang="ja-JP" altLang="en-US" sz="8800" b="1" dirty="0"/>
              <a:t>キャリア教育</a:t>
            </a:r>
            <a:r>
              <a:rPr lang="en-US" altLang="ja-JP" sz="11500" b="1" dirty="0"/>
              <a:t>-</a:t>
            </a:r>
            <a:r>
              <a:rPr lang="ja-JP" altLang="en-US" sz="11500" b="1" dirty="0"/>
              <a:t>産業</a:t>
            </a:r>
            <a:r>
              <a:rPr lang="en-US" altLang="ja-JP" sz="11500" b="1" dirty="0"/>
              <a:t>-</a:t>
            </a:r>
            <a:endParaRPr kumimoji="1" lang="ja-JP" altLang="en-US" sz="11500" b="1" dirty="0"/>
          </a:p>
        </p:txBody>
      </p:sp>
    </p:spTree>
    <p:extLst>
      <p:ext uri="{BB962C8B-B14F-4D97-AF65-F5344CB8AC3E}">
        <p14:creationId xmlns:p14="http://schemas.microsoft.com/office/powerpoint/2010/main" val="2808352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2F6F2-76F6-DE69-2A8A-F48332AB4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960039D-4D5C-8CB2-F1C4-F75EDC01A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solidFill>
                  <a:srgbClr val="192F72"/>
                </a:solidFill>
              </a:rPr>
              <a:t>産業</a:t>
            </a:r>
            <a:r>
              <a:rPr lang="en-US" altLang="ja-JP" dirty="0">
                <a:solidFill>
                  <a:srgbClr val="192F72"/>
                </a:solidFill>
              </a:rPr>
              <a:t>×</a:t>
            </a:r>
            <a:r>
              <a:rPr lang="ja-JP" altLang="en-US" dirty="0">
                <a:solidFill>
                  <a:srgbClr val="192F72"/>
                </a:solidFill>
              </a:rPr>
              <a:t>デジタル事例から考えるキャリア教育</a:t>
            </a:r>
            <a:endParaRPr kumimoji="1" lang="ja-JP" altLang="en-US" dirty="0">
              <a:solidFill>
                <a:srgbClr val="192F72"/>
              </a:solidFill>
            </a:endParaRP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077A0658-3679-7D69-8139-9BDA4AED10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74D42A38-AF5F-EBEF-3AE5-FA3369935922}"/>
              </a:ext>
            </a:extLst>
          </p:cNvPr>
          <p:cNvSpPr txBox="1"/>
          <p:nvPr/>
        </p:nvSpPr>
        <p:spPr>
          <a:xfrm>
            <a:off x="737937" y="1181100"/>
            <a:ext cx="10682641" cy="27921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None/>
            </a:pPr>
            <a:r>
              <a:rPr lang="ja-JP" altLang="en-US" sz="24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デジタル技術の発展</a:t>
            </a: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によって加速度的に移り変わる今日。</a:t>
            </a:r>
            <a:r>
              <a:rPr lang="ja-JP" altLang="en-US" sz="24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必要となる仕事も変われば</a:t>
            </a: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、子どもたちによるなりたい職業も変わっていきます。</a:t>
            </a:r>
          </a:p>
          <a:p>
            <a:pPr algn="l">
              <a:lnSpc>
                <a:spcPct val="150000"/>
              </a:lnSpc>
            </a:pP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そうした中で、産業</a:t>
            </a:r>
            <a:r>
              <a:rPr lang="en-US" altLang="ja-JP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×</a:t>
            </a: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デジタル事例から、現在、</a:t>
            </a:r>
            <a:r>
              <a:rPr lang="ja-JP" altLang="en-US" sz="24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どんなふうに世の中が変わってきているのか</a:t>
            </a: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を知ることで、子どもたちのなりたい姿・やってみたいことを膨らませ、</a:t>
            </a:r>
            <a:r>
              <a:rPr lang="ja-JP" altLang="en-US" sz="24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将来のキャリアを考えるヒント</a:t>
            </a:r>
            <a:r>
              <a:rPr lang="ja-JP" altLang="en-US" sz="2400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にしてほしいと思っています。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327DD64-A137-2C7B-703D-DD7B073307C1}"/>
              </a:ext>
            </a:extLst>
          </p:cNvPr>
          <p:cNvSpPr txBox="1"/>
          <p:nvPr/>
        </p:nvSpPr>
        <p:spPr>
          <a:xfrm>
            <a:off x="1295937" y="4334555"/>
            <a:ext cx="7192080" cy="11280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kumimoji="1" lang="ja-JP" altLang="en-US" sz="4400" b="1" spc="300" noProof="0" dirty="0">
                <a:solidFill>
                  <a:srgbClr val="192F7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指導案のダウンロードはこちらをクリック</a:t>
            </a:r>
            <a:endParaRPr kumimoji="1" lang="ja-JP" altLang="en-US" sz="4400" b="1" spc="300" noProof="0" dirty="0">
              <a:solidFill>
                <a:srgbClr val="192F72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 txBox="1">
            <a:spLocks/>
          </p:cNvSpPr>
          <p:nvPr/>
        </p:nvSpPr>
        <p:spPr>
          <a:xfrm>
            <a:off x="1668117" y="5462582"/>
            <a:ext cx="8855765" cy="11280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1"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altLang="ja-JP" sz="2800" dirty="0">
                <a:solidFill>
                  <a:srgbClr val="192F72"/>
                </a:solidFill>
              </a:rPr>
              <a:t>※</a:t>
            </a:r>
            <a:r>
              <a:rPr lang="ja-JP" altLang="en-US" sz="28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1130957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99F1122-9C85-474C-80D7-BE37AB426767}">
  <we:reference id="12cf32e2-483a-4204-b71b-bf2af83debf2" version="1.2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e4028e4-8fc5-4b13-8dd8-d45891091dfb" xsi:nil="true"/>
    <lcf76f155ced4ddcb4097134ff3c332f xmlns="8bfc3d79-29c4-473a-9698-926f22136cb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D7DDA8DF56D04FA713252812CA3FCB" ma:contentTypeVersion="18" ma:contentTypeDescription="Create a new document." ma:contentTypeScope="" ma:versionID="cfb07f37d28ab232d7b8e55cbf44ed7d">
  <xsd:schema xmlns:xsd="http://www.w3.org/2001/XMLSchema" xmlns:xs="http://www.w3.org/2001/XMLSchema" xmlns:p="http://schemas.microsoft.com/office/2006/metadata/properties" xmlns:ns2="8bfc3d79-29c4-473a-9698-926f22136cb6" xmlns:ns3="be4028e4-8fc5-4b13-8dd8-d45891091dfb" targetNamespace="http://schemas.microsoft.com/office/2006/metadata/properties" ma:root="true" ma:fieldsID="d57f7eb398d784fd859f3ce9ab686010" ns2:_="" ns3:_="">
    <xsd:import namespace="8bfc3d79-29c4-473a-9698-926f22136cb6"/>
    <xsd:import namespace="be4028e4-8fc5-4b13-8dd8-d45891091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fc3d79-29c4-473a-9698-926f22136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4028e4-8fc5-4b13-8dd8-d45891091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557aa36-1df3-4b41-a8e9-d98e519eec03}" ma:internalName="TaxCatchAll" ma:showField="CatchAllData" ma:web="be4028e4-8fc5-4b13-8dd8-d45891091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E42D44-8F53-4BE1-83D7-D861A317DCFA}">
  <ds:schemaRefs>
    <ds:schemaRef ds:uri="http://purl.org/dc/elements/1.1/"/>
    <ds:schemaRef ds:uri="http://schemas.microsoft.com/office/2006/documentManagement/types"/>
    <ds:schemaRef ds:uri="8bfc3d79-29c4-473a-9698-926f22136cb6"/>
    <ds:schemaRef ds:uri="http://schemas.microsoft.com/office/2006/metadata/properties"/>
    <ds:schemaRef ds:uri="http://purl.org/dc/terms/"/>
    <ds:schemaRef ds:uri="be4028e4-8fc5-4b13-8dd8-d45891091dfb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C1618D8-1B14-47F2-86A2-46CA4BD231AC}">
  <ds:schemaRefs>
    <ds:schemaRef ds:uri="8bfc3d79-29c4-473a-9698-926f22136cb6"/>
    <ds:schemaRef ds:uri="be4028e4-8fc5-4b13-8dd8-d45891091d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B25256C-92B0-428C-9925-EF35CA18D50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807</TotalTime>
  <Words>116</Words>
  <Application>Microsoft Office PowerPoint</Application>
  <PresentationFormat>ワイド画面</PresentationFormat>
  <Paragraphs>8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3" baseType="lpstr">
      <vt:lpstr>Meiryo UI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産業×デジタル事例から考えるキャリア教育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E アジェンダとその他討議事項</dc:title>
  <dc:creator>Kamatani, Karin</dc:creator>
  <cp:lastModifiedBy>Nagano, Sakura</cp:lastModifiedBy>
  <cp:revision>25</cp:revision>
  <dcterms:created xsi:type="dcterms:W3CDTF">2024-08-07T03:55:19Z</dcterms:created>
  <dcterms:modified xsi:type="dcterms:W3CDTF">2025-09-01T08:1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D7DDA8DF56D04FA713252812CA3FCB</vt:lpwstr>
  </property>
  <property fmtid="{D5CDD505-2E9C-101B-9397-08002B2CF9AE}" pid="3" name="MediaServiceImageTags">
    <vt:lpwstr/>
  </property>
</Properties>
</file>